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slides/slide209.xml" ContentType="application/vnd.openxmlformats-officedocument.presentationml.slide+xml"/>
  <Override PartName="/ppt/tags/tag1158.xml" ContentType="application/vnd.openxmlformats-officedocument.presentationml.tags+xml"/>
  <Override PartName="/ppt/tags/tag1163.xml" ContentType="application/vnd.openxmlformats-officedocument.presentationml.tags+xml"/>
  <Override PartName="/ppt/tags/tag1168.xml" ContentType="application/vnd.openxmlformats-officedocument.presentationml.tags+xml"/>
  <Override PartName="/ppt/tags/tag1153.xml" ContentType="application/vnd.openxmlformats-officedocument.presentationml.tags+xml"/>
  <Override PartName="/ppt/tags/tag1171.xml" ContentType="application/vnd.openxmlformats-officedocument.presentationml.tags+xml"/>
  <Override PartName="/ppt/tags/tag1157.xml" ContentType="application/vnd.openxmlformats-officedocument.presentationml.tags+xml"/>
  <Override PartName="/ppt/tags/tag1162.xml" ContentType="application/vnd.openxmlformats-officedocument.presentationml.tags+xml"/>
  <Override PartName="/ppt/tags/tag1167.xml" ContentType="application/vnd.openxmlformats-officedocument.presentationml.tags+xml"/>
  <Override PartName="/ppt/notesSlides/notesSlide20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152.xml" ContentType="application/vnd.openxmlformats-officedocument.presentationml.tags+xml"/>
  <Override PartName="/ppt/tags/tag1166.xml" ContentType="application/vnd.openxmlformats-officedocument.presentationml.tags+xml"/>
  <Override PartName="/ppt/tags/tag1170.xml" ContentType="application/vnd.openxmlformats-officedocument.presentationml.tags+xml"/>
  <Override PartName="/ppt/tags/tag1156.xml" ContentType="application/vnd.openxmlformats-officedocument.presentationml.tags+xml"/>
  <Override PartName="/ppt/tags/tag1161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155.xml" ContentType="application/vnd.openxmlformats-officedocument.presentationml.tags+xml"/>
  <Override PartName="/ppt/tags/tag1165.xml" ContentType="application/vnd.openxmlformats-officedocument.presentationml.tags+xml"/>
  <Override PartName="/ppt/tags/tag1173.xml" ContentType="application/vnd.openxmlformats-officedocument.presentationml.tags+xml"/>
  <Override PartName="/ppt/charts/chart43.xml" ContentType="application/vnd.openxmlformats-officedocument.drawingml.chart+xml"/>
  <Override PartName="/ppt/tags/tag1160.xml" ContentType="application/vnd.openxmlformats-officedocument.presentationml.tags+xml"/>
  <Override PartName="/ppt/tags/tag1169.xml" ContentType="application/vnd.openxmlformats-officedocument.presentationml.tags+xml"/>
  <Override PartName="/ppt/tags/tag1154.xml" ContentType="application/vnd.openxmlformats-officedocument.presentationml.tags+xml"/>
  <Override PartName="/ppt/tags/tag1159.xml" ContentType="application/vnd.openxmlformats-officedocument.presentationml.tags+xml"/>
  <Override PartName="/ppt/tags/tag1164.xml" ContentType="application/vnd.openxmlformats-officedocument.presentationml.tags+xml"/>
  <Override PartName="/ppt/tags/tag1172.xml" ContentType="application/vnd.openxmlformats-officedocument.presentationml.tag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10" r:id="rId21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slide" Target="/ppt/slides/slide209.xml" Id="rId212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43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42.xlsb" Id="rId1" /></Relationships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723258096172712E-2"/>
          <c:y val="8.2443400256300731E-2"/>
          <c:w val="0.84514229636898919"/>
          <c:h val="0.835113199487398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529-4BA4-8446-20AE390D3B26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529-4BA4-8446-20AE390D3B26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529-4BA4-8446-20AE390D3B26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529-4BA4-8446-20AE390D3B26}"/>
                </c:ext>
              </c:extLst>
            </c:dLbl>
            <c:dLbl>
              <c:idx val="4"/>
              <c:layout>
                <c:manualLayout>
                  <c:x val="0"/>
                  <c:y val="-4.2716787697565144E-4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529-4BA4-8446-20AE390D3B26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529-4BA4-8446-20AE390D3B26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0&quot;m&quot;;&quot;-&quot;0&quot;m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529-4BA4-8446-20AE390D3B2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323</c:v>
                </c:pt>
                <c:pt idx="1">
                  <c:v>330</c:v>
                </c:pt>
                <c:pt idx="2">
                  <c:v>350</c:v>
                </c:pt>
                <c:pt idx="3">
                  <c:v>360</c:v>
                </c:pt>
                <c:pt idx="4">
                  <c:v>377</c:v>
                </c:pt>
                <c:pt idx="5">
                  <c:v>380</c:v>
                </c:pt>
                <c:pt idx="7">
                  <c:v>4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529-4BA4-8446-20AE390D3B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20857760"/>
        <c:axId val="1"/>
      </c:barChart>
      <c:lineChart>
        <c:grouping val="standard"/>
        <c:varyColors val="0"/>
        <c:ser>
          <c:idx val="1"/>
          <c:order val="1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F529-4BA4-8446-20AE390D3B26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F529-4BA4-8446-20AE390D3B26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F529-4BA4-8446-20AE390D3B26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F529-4BA4-8446-20AE390D3B26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F529-4BA4-8446-20AE390D3B26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F529-4BA4-8446-20AE390D3B26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F529-4BA4-8446-20AE390D3B26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0">
                  <c:v>36</c:v>
                </c:pt>
                <c:pt idx="1">
                  <c:v>38</c:v>
                </c:pt>
                <c:pt idx="2">
                  <c:v>39</c:v>
                </c:pt>
                <c:pt idx="3">
                  <c:v>40</c:v>
                </c:pt>
                <c:pt idx="4">
                  <c:v>42.22</c:v>
                </c:pt>
                <c:pt idx="5">
                  <c:v>41.63</c:v>
                </c:pt>
                <c:pt idx="6">
                  <c:v>49.984999999999999</c:v>
                </c:pt>
                <c:pt idx="7">
                  <c:v>58.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F529-4BA4-8446-20AE390D3B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320857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20857760"/>
        <c:crosses val="min"/>
        <c:crossBetween val="between"/>
        <c:majorUnit val="100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6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0&quot;k&quot;;&quot;-&quot;0&quot;k&quot;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"/>
        <c:crosses val="max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1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09.xml.rels>&#65279;<?xml version="1.0" encoding="utf-8"?><Relationships xmlns="http://schemas.openxmlformats.org/package/2006/relationships"><Relationship Type="http://schemas.openxmlformats.org/officeDocument/2006/relationships/slide" Target="/ppt/slides/slide209.xml" Id="rId2" /><Relationship Type="http://schemas.openxmlformats.org/officeDocument/2006/relationships/notesMaster" Target="/ppt/notesMasters/notesMaster1.xml" Id="rId1" /></Relationships>
</file>

<file path=ppt/notesSlides/notesSlide2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912168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09.xml.rels>&#65279;<?xml version="1.0" encoding="utf-8"?><Relationships xmlns="http://schemas.openxmlformats.org/package/2006/relationships"><Relationship Type="http://schemas.openxmlformats.org/officeDocument/2006/relationships/tags" Target="/ppt/tags/tag1158.xml" Id="rId8" /><Relationship Type="http://schemas.openxmlformats.org/officeDocument/2006/relationships/tags" Target="/ppt/tags/tag1163.xml" Id="rId13" /><Relationship Type="http://schemas.openxmlformats.org/officeDocument/2006/relationships/tags" Target="/ppt/tags/tag1168.xml" Id="rId18" /><Relationship Type="http://schemas.openxmlformats.org/officeDocument/2006/relationships/oleObject" Target="/ppt/embeddings/oleObject213.bin" Id="rId26" /><Relationship Type="http://schemas.openxmlformats.org/officeDocument/2006/relationships/tags" Target="/ppt/tags/tag1153.xml" Id="rId3" /><Relationship Type="http://schemas.openxmlformats.org/officeDocument/2006/relationships/tags" Target="/ppt/tags/tag1171.xml" Id="rId21" /><Relationship Type="http://schemas.openxmlformats.org/officeDocument/2006/relationships/tags" Target="/ppt/tags/tag1157.xml" Id="rId7" /><Relationship Type="http://schemas.openxmlformats.org/officeDocument/2006/relationships/tags" Target="/ppt/tags/tag1162.xml" Id="rId12" /><Relationship Type="http://schemas.openxmlformats.org/officeDocument/2006/relationships/tags" Target="/ppt/tags/tag1167.xml" Id="rId17" /><Relationship Type="http://schemas.openxmlformats.org/officeDocument/2006/relationships/notesSlide" Target="/ppt/notesSlides/notesSlide209.xml" Id="rId25" /><Relationship Type="http://schemas.openxmlformats.org/officeDocument/2006/relationships/tags" Target="/ppt/tags/tag1152.xml" Id="rId2" /><Relationship Type="http://schemas.openxmlformats.org/officeDocument/2006/relationships/tags" Target="/ppt/tags/tag1166.xml" Id="rId16" /><Relationship Type="http://schemas.openxmlformats.org/officeDocument/2006/relationships/tags" Target="/ppt/tags/tag1170.xml" Id="rId20" /><Relationship Type="http://schemas.openxmlformats.org/officeDocument/2006/relationships/vmlDrawing" Target="/ppt/drawings/vmlDrawing213.vml" Id="rId1" /><Relationship Type="http://schemas.openxmlformats.org/officeDocument/2006/relationships/tags" Target="/ppt/tags/tag1156.xml" Id="rId6" /><Relationship Type="http://schemas.openxmlformats.org/officeDocument/2006/relationships/tags" Target="/ppt/tags/tag1161.xml" Id="rId11" /><Relationship Type="http://schemas.openxmlformats.org/officeDocument/2006/relationships/slideLayout" Target="/ppt/slideLayouts/slideLayout5.xml" Id="rId24" /><Relationship Type="http://schemas.openxmlformats.org/officeDocument/2006/relationships/tags" Target="/ppt/tags/tag1155.xml" Id="rId5" /><Relationship Type="http://schemas.openxmlformats.org/officeDocument/2006/relationships/tags" Target="/ppt/tags/tag1165.xml" Id="rId15" /><Relationship Type="http://schemas.openxmlformats.org/officeDocument/2006/relationships/tags" Target="/ppt/tags/tag1173.xml" Id="rId23" /><Relationship Type="http://schemas.openxmlformats.org/officeDocument/2006/relationships/chart" Target="/ppt/charts/chart43.xml" Id="rId28" /><Relationship Type="http://schemas.openxmlformats.org/officeDocument/2006/relationships/tags" Target="/ppt/tags/tag1160.xml" Id="rId10" /><Relationship Type="http://schemas.openxmlformats.org/officeDocument/2006/relationships/tags" Target="/ppt/tags/tag1169.xml" Id="rId19" /><Relationship Type="http://schemas.openxmlformats.org/officeDocument/2006/relationships/tags" Target="/ppt/tags/tag1154.xml" Id="rId4" /><Relationship Type="http://schemas.openxmlformats.org/officeDocument/2006/relationships/tags" Target="/ppt/tags/tag1159.xml" Id="rId9" /><Relationship Type="http://schemas.openxmlformats.org/officeDocument/2006/relationships/tags" Target="/ppt/tags/tag1164.xml" Id="rId14" /><Relationship Type="http://schemas.openxmlformats.org/officeDocument/2006/relationships/tags" Target="/ppt/tags/tag1172.xml" Id="rId22" /><Relationship Type="http://schemas.openxmlformats.org/officeDocument/2006/relationships/image" Target="/ppt/media/image4.emf" Id="rId27" /></Relationships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87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1" name="think-cell 幻灯片" r:id="rId26" imgW="349" imgH="350" progId="TCLayout.ActiveDocument.1">
                  <p:embed/>
                </p:oleObj>
              </mc:Choice>
              <mc:Fallback>
                <p:oleObj name="think-cell 幻灯片" r:id="rId2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ime series: Combination</a:t>
            </a:r>
          </a:p>
        </p:txBody>
      </p:sp>
      <p:graphicFrame>
        <p:nvGraphicFramePr>
          <p:cNvPr id="41" name="Chart 3">
            <a:extLst>
              <a:ext uri="{FF2B5EF4-FFF2-40B4-BE49-F238E27FC236}">
                <a16:creationId xmlns:a16="http://schemas.microsoft.com/office/drawing/2014/main" id="{D425D054-C035-48F6-BF5D-338436D2663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4140069"/>
              </p:ext>
            </p:extLst>
          </p:nvPr>
        </p:nvGraphicFramePr>
        <p:xfrm>
          <a:off x="241300" y="2009775"/>
          <a:ext cx="8088313" cy="3716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 useBgFill="1">
        <p:nvSpPr>
          <p:cNvPr id="22" name="任意多边形: 形状 21">
            <a:extLst>
              <a:ext uri="{FF2B5EF4-FFF2-40B4-BE49-F238E27FC236}">
                <a16:creationId xmlns:a16="http://schemas.microsoft.com/office/drawing/2014/main" id="{A6225121-DC0F-413C-A7AE-B0D9ABF4A959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383338" y="2709863"/>
            <a:ext cx="79376" cy="247651"/>
          </a:xfrm>
          <a:custGeom>
            <a:avLst/>
            <a:gdLst/>
            <a:ahLst/>
            <a:cxnLst/>
            <a:rect l="0" t="0" r="0" b="0"/>
            <a:pathLst>
              <a:path w="79376" h="247651">
                <a:moveTo>
                  <a:pt x="79375" y="0"/>
                </a:moveTo>
                <a:lnTo>
                  <a:pt x="57150" y="82550"/>
                </a:lnTo>
                <a:lnTo>
                  <a:pt x="79375" y="165100"/>
                </a:lnTo>
                <a:lnTo>
                  <a:pt x="57150" y="247650"/>
                </a:lnTo>
                <a:lnTo>
                  <a:pt x="0" y="247650"/>
                </a:lnTo>
                <a:lnTo>
                  <a:pt x="22225" y="165100"/>
                </a:lnTo>
                <a:lnTo>
                  <a:pt x="0" y="82550"/>
                </a:lnTo>
                <a:lnTo>
                  <a:pt x="22225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 useBgFill="1">
        <p:nvSpPr>
          <p:cNvPr id="25" name="任意多边形: 形状 24">
            <a:extLst>
              <a:ext uri="{FF2B5EF4-FFF2-40B4-BE49-F238E27FC236}">
                <a16:creationId xmlns:a16="http://schemas.microsoft.com/office/drawing/2014/main" id="{B0F4A3DE-7CA6-4539-B158-DDACCF5B642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375400" y="5346700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1630E958-FEEB-4E54-98AC-9A60F637247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383338" y="2709863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AB8F22AB-A583-4FC9-BDE0-97171BD93DA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440488" y="2709863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16280FF3-F801-4D29-AAAD-7E60345052F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375400" y="53467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1E7335D0-760C-4B73-9A99-CA15874B74D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432550" y="53467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1" name="Text Placeholder 2">
            <a:extLst>
              <a:ext uri="{FF2B5EF4-FFF2-40B4-BE49-F238E27FC236}">
                <a16:creationId xmlns:a16="http://schemas.microsoft.com/office/drawing/2014/main" id="{3C1B72CD-106B-1679-5293-107D452D6676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65125" y="1854200"/>
            <a:ext cx="739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Revenue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92" name="Text Placeholder 2">
            <a:extLst>
              <a:ext uri="{FF2B5EF4-FFF2-40B4-BE49-F238E27FC236}">
                <a16:creationId xmlns:a16="http://schemas.microsoft.com/office/drawing/2014/main" id="{32F3D52F-A623-98F5-5E9C-B0C258244077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7354887" y="1854200"/>
            <a:ext cx="850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Units sold</a:t>
            </a:r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84" name="Text Placeholder 2">
            <a:extLst>
              <a:ext uri="{FF2B5EF4-FFF2-40B4-BE49-F238E27FC236}">
                <a16:creationId xmlns:a16="http://schemas.microsoft.com/office/drawing/2014/main" id="{6C7586F8-0E71-7166-E4F0-148A055D40F4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1063625" y="5478463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2ED978D-EC19-4287-88D4-A0E290584494}" type="datetime'''''''''2''''''''''0''''''2''4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85" name="Text Placeholder 2">
            <a:extLst>
              <a:ext uri="{FF2B5EF4-FFF2-40B4-BE49-F238E27FC236}">
                <a16:creationId xmlns:a16="http://schemas.microsoft.com/office/drawing/2014/main" id="{091C4534-0286-767C-C10B-9FF2774D86CA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1919288" y="5478463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8E7521-6281-45DD-8C4A-D64979EC87C3}" type="datetime'2''''''''''''''''''''''0''''''''''''''''2''''''''''''''5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86" name="Text Placeholder 2">
            <a:extLst>
              <a:ext uri="{FF2B5EF4-FFF2-40B4-BE49-F238E27FC236}">
                <a16:creationId xmlns:a16="http://schemas.microsoft.com/office/drawing/2014/main" id="{EF8B3CB3-18BE-BE6E-D9AE-16635A8E12F4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774950" y="5478463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B532D7-F1C6-46AF-BA65-1EBD365E1339}" type="datetime'''2''''''''''''0''''2''''6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6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87" name="Text Placeholder 2">
            <a:extLst>
              <a:ext uri="{FF2B5EF4-FFF2-40B4-BE49-F238E27FC236}">
                <a16:creationId xmlns:a16="http://schemas.microsoft.com/office/drawing/2014/main" id="{E4709AE3-FA28-EE94-4F64-02DDC3711AA1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3635375" y="5478463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4DAC3A4-F81F-4A55-8AD9-2EDC697AA42C}" type="datetime'''''''''''''''''''2''0''''''''''''2''7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88" name="Text Placeholder 2">
            <a:extLst>
              <a:ext uri="{FF2B5EF4-FFF2-40B4-BE49-F238E27FC236}">
                <a16:creationId xmlns:a16="http://schemas.microsoft.com/office/drawing/2014/main" id="{42D055F2-3F18-8EE2-A047-1DAA69218ED8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481513" y="5478463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95EF639-8FFD-40BE-ABF3-901FF963FF70}" type="datetime'''''''2''''''''''''''''''''''''''''''0''''''28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89" name="Text Placeholder 2">
            <a:extLst>
              <a:ext uri="{FF2B5EF4-FFF2-40B4-BE49-F238E27FC236}">
                <a16:creationId xmlns:a16="http://schemas.microsoft.com/office/drawing/2014/main" id="{D13451D5-0AD1-BEEB-6F45-C9449DAAD94B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5338763" y="5478463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8D338E-88AF-49A6-B895-E23C480473A9}" type="datetime'''''''''''''20''''''''''''''''''''2''''''9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9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90" name="Text Placeholder 2">
            <a:extLst>
              <a:ext uri="{FF2B5EF4-FFF2-40B4-BE49-F238E27FC236}">
                <a16:creationId xmlns:a16="http://schemas.microsoft.com/office/drawing/2014/main" id="{6FFB7761-1A1B-9E1F-5C79-864E6E0B4DD4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7046913" y="5478463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171E5F-C881-4CAB-A69B-05C7C6C15D52}" type="datetime'''''''''2''''''''''''''0''''''3''''''''''''''''''''5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/>
              <a:t>203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593" name="Straight Connector 592">
            <a:extLst>
              <a:ext uri="{FF2B5EF4-FFF2-40B4-BE49-F238E27FC236}">
                <a16:creationId xmlns:a16="http://schemas.microsoft.com/office/drawing/2014/main" id="{62E0C461-9693-7946-674B-530A6351C0A5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gray">
          <a:xfrm>
            <a:off x="3097213" y="5872163"/>
            <a:ext cx="33020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4" name="Rectangle 593">
            <a:extLst>
              <a:ext uri="{FF2B5EF4-FFF2-40B4-BE49-F238E27FC236}">
                <a16:creationId xmlns:a16="http://schemas.microsoft.com/office/drawing/2014/main" id="{1640F1A2-3EDB-3748-4A5B-410F4F43EAAB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4538663" y="577850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5" name="Oval 594">
            <a:extLst>
              <a:ext uri="{FF2B5EF4-FFF2-40B4-BE49-F238E27FC236}">
                <a16:creationId xmlns:a16="http://schemas.microsoft.com/office/drawing/2014/main" id="{3CE4BCE5-AA7A-99CD-0BD3-9CE5CAC14568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3217863" y="5827713"/>
            <a:ext cx="88900" cy="88900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6" name="Rectangle 27">
            <a:extLst>
              <a:ext uri="{FF2B5EF4-FFF2-40B4-BE49-F238E27FC236}">
                <a16:creationId xmlns:a16="http://schemas.microsoft.com/office/drawing/2014/main" id="{90A1D2CC-3941-472F-AB7E-EDAF932207E5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3487737" y="5773738"/>
            <a:ext cx="8509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F284BF7-3DD5-41BE-9C82-6B232A50F5A8}" type="datetime'''''''''''Un''''i''''''t''s so''l''''''''d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Units sold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97" name="Rectangle 27">
            <a:extLst>
              <a:ext uri="{FF2B5EF4-FFF2-40B4-BE49-F238E27FC236}">
                <a16:creationId xmlns:a16="http://schemas.microsoft.com/office/drawing/2014/main" id="{41115868-208E-C308-C2F0-A5346352BBED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4840288" y="5773738"/>
            <a:ext cx="739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DE90098-6DD8-4DBF-805F-9A4151CCD0CC}" type="datetime'Rev''''e''''''''''''''''''''''''''n''u''e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Revenue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38FE20FD-B84E-DFB4-8A59-2CB96687B10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56723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hink-cell, chart, charts, graph, graphs, line, lines, column, columns, bar, bars, comment</a:t>
            </a:r>
          </a:p>
        </p:txBody>
      </p:sp>
      <p:sp>
        <p:nvSpPr>
          <p:cNvPr id="2" name="Rechteck 137">
            <a:extLst>
              <a:ext uri="{FF2B5EF4-FFF2-40B4-BE49-F238E27FC236}">
                <a16:creationId xmlns:a16="http://schemas.microsoft.com/office/drawing/2014/main" id="{952525E9-2D5B-D325-48D8-82FB6738989E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3" name="tc_columnheader">
            <a:extLst>
              <a:ext uri="{FF2B5EF4-FFF2-40B4-BE49-F238E27FC236}">
                <a16:creationId xmlns:a16="http://schemas.microsoft.com/office/drawing/2014/main" id="{CE9EE698-16AD-19AA-0CF6-32071BB31AAB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7" name="tc_columnhead">
              <a:extLst>
                <a:ext uri="{FF2B5EF4-FFF2-40B4-BE49-F238E27FC236}">
                  <a16:creationId xmlns:a16="http://schemas.microsoft.com/office/drawing/2014/main" id="{52C264F1-5232-9595-23B5-49AC446CA1FA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8" name="tc_columnheadline">
              <a:extLst>
                <a:ext uri="{FF2B5EF4-FFF2-40B4-BE49-F238E27FC236}">
                  <a16:creationId xmlns:a16="http://schemas.microsoft.com/office/drawing/2014/main" id="{D8481B47-8F1B-C06D-D6F9-8F7FCEEE7F17}"/>
                </a:ext>
              </a:extLst>
            </p:cNvPr>
            <p:cNvCxnSpPr>
              <a:cxnSpLocks/>
              <a:stCxn id="7" idx="4"/>
              <a:endCxn id="7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tc_columnheader">
            <a:extLst>
              <a:ext uri="{FF2B5EF4-FFF2-40B4-BE49-F238E27FC236}">
                <a16:creationId xmlns:a16="http://schemas.microsoft.com/office/drawing/2014/main" id="{CDD55F87-BC89-ED83-4E5E-A6393182EB06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1" name="tc_columnhead">
              <a:extLst>
                <a:ext uri="{FF2B5EF4-FFF2-40B4-BE49-F238E27FC236}">
                  <a16:creationId xmlns:a16="http://schemas.microsoft.com/office/drawing/2014/main" id="{4DE545AD-E3AC-5D7C-2E15-3E3930638EB6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12" name="tc_columnheadline">
              <a:extLst>
                <a:ext uri="{FF2B5EF4-FFF2-40B4-BE49-F238E27FC236}">
                  <a16:creationId xmlns:a16="http://schemas.microsoft.com/office/drawing/2014/main" id="{68FE26C4-4B51-0912-187E-A92B94368258}"/>
                </a:ext>
              </a:extLst>
            </p:cNvPr>
            <p:cNvCxnSpPr>
              <a:cxnSpLocks/>
              <a:stCxn id="11" idx="4"/>
              <a:endCxn id="11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8">
            <a:extLst>
              <a:ext uri="{FF2B5EF4-FFF2-40B4-BE49-F238E27FC236}">
                <a16:creationId xmlns:a16="http://schemas.microsoft.com/office/drawing/2014/main" id="{C18A1CBC-96D4-962A-AE46-AB9AC6E44AA0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</a:t>
            </a:r>
            <a:r>
              <a:rPr lang="en-US" sz="1200" b="1">
                <a:solidFill>
                  <a:schemeClr val="tx1"/>
                </a:solidFill>
              </a:rPr>
              <a:t>,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49944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bxYvN726axYtghicNVXA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xncLa3ABortthh6a8lYg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KnOojlj8QgYd1Kok6ZTQ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z_YdCxpM3.vsmTeY5E3Q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hoZbFBGFnJjYc19u_RZw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jWCe_GMS4HtOx5476ktg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F41wp7DTcv_f3fiDwG6w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4ucgs4oW90WcYLdroXrw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04afzk94ATYuMreSNEmQ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8B.lhKEKR3VtLezbGYXw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lQBYQsvbU74HNAbT4IYg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YhEjBYJBSzM7LFVao7AQ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5S.k3cpzyW_qQf.nzaMg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vAxPO2.yD28VKZuQm8Zw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Ph3IAqH4yboMh4A_i_WQ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.iPxSMCfyF3JagnF_wKg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kESdnO.a9dRrl1w5l5gA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IFIP7jraJf7Q2IejWtOQ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xQEAdmGa60kt8lTguKA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KW.7IyqCO2AjAVD1fwgA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M_jmbxTv4GuLsEyQCT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